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570447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4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elia Radford" userId="8f0a28a7-6dc9-4763-89d4-04e71f60afa0" providerId="ADAL" clId="{099B87A0-06A3-404F-9C25-762777F6CB64}"/>
    <pc:docChg chg="modSld">
      <pc:chgData name="Amelia Radford" userId="8f0a28a7-6dc9-4763-89d4-04e71f60afa0" providerId="ADAL" clId="{099B87A0-06A3-404F-9C25-762777F6CB64}" dt="2025-01-17T17:05:47.898" v="20" actId="20577"/>
      <pc:docMkLst>
        <pc:docMk/>
      </pc:docMkLst>
      <pc:sldChg chg="modSp mod">
        <pc:chgData name="Amelia Radford" userId="8f0a28a7-6dc9-4763-89d4-04e71f60afa0" providerId="ADAL" clId="{099B87A0-06A3-404F-9C25-762777F6CB64}" dt="2025-01-17T17:05:47.898" v="20" actId="20577"/>
        <pc:sldMkLst>
          <pc:docMk/>
          <pc:sldMk cId="1352128571" sldId="2145704471"/>
        </pc:sldMkLst>
        <pc:spChg chg="mod">
          <ac:chgData name="Amelia Radford" userId="8f0a28a7-6dc9-4763-89d4-04e71f60afa0" providerId="ADAL" clId="{099B87A0-06A3-404F-9C25-762777F6CB64}" dt="2025-01-17T17:05:16.045" v="18" actId="20577"/>
          <ac:spMkLst>
            <pc:docMk/>
            <pc:sldMk cId="1352128571" sldId="2145704471"/>
            <ac:spMk id="4" creationId="{F3B1472A-330A-7729-4876-6E1CEBF97D1B}"/>
          </ac:spMkLst>
        </pc:spChg>
        <pc:spChg chg="mod">
          <ac:chgData name="Amelia Radford" userId="8f0a28a7-6dc9-4763-89d4-04e71f60afa0" providerId="ADAL" clId="{099B87A0-06A3-404F-9C25-762777F6CB64}" dt="2025-01-17T17:05:47.898" v="20" actId="20577"/>
          <ac:spMkLst>
            <pc:docMk/>
            <pc:sldMk cId="1352128571" sldId="2145704471"/>
            <ac:spMk id="5" creationId="{D2DD335C-D1E8-C936-DE2B-6339B5CBAA46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4600774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2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50387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31540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37315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19901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90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72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35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04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3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99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036395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036395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036395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0" name="Title Placeholder 1"/>
          <p:cNvSpPr txBox="1">
            <a:spLocks/>
          </p:cNvSpPr>
          <p:nvPr userDrawn="1"/>
        </p:nvSpPr>
        <p:spPr bwMode="gray">
          <a:xfrm>
            <a:off x="7132146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  <a:endParaRPr lang="en-US" sz="2539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132146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7132146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46137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132146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132146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713214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0" name="Title Placeholder 1"/>
          <p:cNvSpPr txBox="1">
            <a:spLocks/>
          </p:cNvSpPr>
          <p:nvPr userDrawn="1"/>
        </p:nvSpPr>
        <p:spPr bwMode="gray">
          <a:xfrm>
            <a:off x="1044303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  <a:endParaRPr lang="en-US" sz="2539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044303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4303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517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77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374857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4356621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4885153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46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47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431693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91231" y="338971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0653" y="947013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90653" y="1475544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18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972313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463501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952180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5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22636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3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22632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54632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27449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360675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27424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750376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09203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9619889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857936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87067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032626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097220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465025" y="212237"/>
            <a:ext cx="3642893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465024" y="826015"/>
            <a:ext cx="3443341" cy="1856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34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094781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062155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062155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159375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4629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4687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39650" cy="3728417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6141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1455462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00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401198" y="3426309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790802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9790802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0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3691288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83653" y="212237"/>
            <a:ext cx="2715981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368944" y="820279"/>
            <a:ext cx="3145399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  <p:sp>
        <p:nvSpPr>
          <p:cNvPr id="1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368945" y="1357992"/>
            <a:ext cx="3145398" cy="372841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10929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93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66050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19379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1995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52024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00102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9659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97175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746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45337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748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88063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88349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05627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78372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78949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7923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58380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4616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4678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47070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85178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2650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254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5548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455462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1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89268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02407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14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78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92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42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25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14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6095751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96249" y="1"/>
            <a:ext cx="6095751" cy="3157417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678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995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3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231" y="-1"/>
            <a:ext cx="4063539" cy="342842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064922" y="3428426"/>
            <a:ext cx="4063539" cy="3428427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647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35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52690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31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3747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258718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063040" y="4159099"/>
            <a:ext cx="4065920" cy="15519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197413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22829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11647" y="974354"/>
            <a:ext cx="6118748" cy="588364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242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97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852074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62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9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0" imgW="6350000" imgH="6350000" progId="">
                  <p:embed/>
                </p:oleObj>
              </mc:Choice>
              <mc:Fallback>
                <p:oleObj name="think-cell Slide" r:id="rId6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492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3446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vimeo.com/1035288292?share=copy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AC52-540B-4E63-AD37-C1F4CC6D9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ogle pixel 9: wicked typo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1472A-330A-7729-4876-6E1CEBF97D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urn Your Phone Off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DD335C-D1E8-C936-DE2B-6339B5CBAA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1647" y="1348919"/>
            <a:ext cx="4870492" cy="4688666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Background</a:t>
            </a:r>
          </a:p>
          <a:p>
            <a:endParaRPr lang="en-US" dirty="0"/>
          </a:p>
          <a:p>
            <a:r>
              <a:rPr lang="en-US" dirty="0"/>
              <a:t>Google were looking to refresh their Google Pixel 9 Turn Your Phone Off message 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Idea</a:t>
            </a:r>
          </a:p>
          <a:p>
            <a:endParaRPr lang="en-US" dirty="0"/>
          </a:p>
          <a:p>
            <a:r>
              <a:rPr lang="en-GB" dirty="0"/>
              <a:t>DCM Studios created a bespoke Wicked TYPO creative for Google that is running exclusively in Wicked screenings. We have updated the original Google Pixel 9 Turn Your Phone Off message and included visuals and audio from the film.</a:t>
            </a:r>
          </a:p>
          <a:p>
            <a:endParaRPr lang="en-US" dirty="0"/>
          </a:p>
          <a:p>
            <a:endParaRPr lang="en-US" dirty="0"/>
          </a:p>
          <a:p>
            <a:r>
              <a:rPr lang="en-GB" b="1" dirty="0">
                <a:solidFill>
                  <a:srgbClr val="C0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gt;Click to Watch&lt;</a:t>
            </a:r>
            <a:endParaRPr lang="en-US" b="1" dirty="0">
              <a:solidFill>
                <a:srgbClr val="C00000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1B82FD-B724-A085-6F21-BCD54B282C93}"/>
              </a:ext>
            </a:extLst>
          </p:cNvPr>
          <p:cNvCxnSpPr>
            <a:cxnSpLocks/>
          </p:cNvCxnSpPr>
          <p:nvPr/>
        </p:nvCxnSpPr>
        <p:spPr>
          <a:xfrm>
            <a:off x="0" y="647984"/>
            <a:ext cx="4310743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ACFE52A-C2C0-09D7-9C47-8D7F3D057653}"/>
              </a:ext>
            </a:extLst>
          </p:cNvPr>
          <p:cNvGraphicFramePr>
            <a:graphicFrameLocks noGrp="1"/>
          </p:cNvGraphicFramePr>
          <p:nvPr/>
        </p:nvGraphicFramePr>
        <p:xfrm>
          <a:off x="6095752" y="4701777"/>
          <a:ext cx="6096249" cy="134064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2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628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Sector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Telecommunication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Media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Mediacom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Target Audienc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18-29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Creative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DCM Studio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Packag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i="0" baseline="0" dirty="0">
                          <a:solidFill>
                            <a:srgbClr val="FFFFFF"/>
                          </a:solidFill>
                        </a:rPr>
                        <a:t>Turn Your Phone Off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Duration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026" name="Picture 2" descr="Google Logo - White, PNG and Vector">
            <a:extLst>
              <a:ext uri="{FF2B5EF4-FFF2-40B4-BE49-F238E27FC236}">
                <a16:creationId xmlns:a16="http://schemas.microsoft.com/office/drawing/2014/main" id="{F64B824B-029E-B160-D4A1-E9999D70A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32" y="3971171"/>
            <a:ext cx="1609344" cy="529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ODEON Bristol: happy to be here! | Business West">
            <a:extLst>
              <a:ext uri="{FF2B5EF4-FFF2-40B4-BE49-F238E27FC236}">
                <a16:creationId xmlns:a16="http://schemas.microsoft.com/office/drawing/2014/main" id="{9EE6E587-6AA2-AE90-FB2D-6C9DCF5CF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340" y="3740936"/>
            <a:ext cx="1908134" cy="95406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niversal Pictures Logo 2013 White by jakeysamra on DeviantArt">
            <a:extLst>
              <a:ext uri="{FF2B5EF4-FFF2-40B4-BE49-F238E27FC236}">
                <a16:creationId xmlns:a16="http://schemas.microsoft.com/office/drawing/2014/main" id="{656AECDB-53D9-919D-D302-DA43F4C687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771" y="4742350"/>
            <a:ext cx="1663850" cy="12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screen shot of a device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D72CD19F-FC79-4E92-BC41-D935442914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83" y="348408"/>
            <a:ext cx="6335117" cy="3392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12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93</Words>
  <Application>Microsoft Office PowerPoint</Application>
  <PresentationFormat>Widescreen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Google pixel 9: wicked typo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ogle pixel 9: wicked typo </dc:title>
  <dc:creator>Amelia Radford</dc:creator>
  <cp:lastModifiedBy>Mia Blakeney</cp:lastModifiedBy>
  <cp:revision>4</cp:revision>
  <dcterms:created xsi:type="dcterms:W3CDTF">2025-01-17T16:22:49Z</dcterms:created>
  <dcterms:modified xsi:type="dcterms:W3CDTF">2025-01-27T12:31:21Z</dcterms:modified>
</cp:coreProperties>
</file>